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590" r:id="rId2"/>
    <p:sldId id="2147469685" r:id="rId3"/>
    <p:sldId id="2147469683" r:id="rId4"/>
    <p:sldId id="2147469686" r:id="rId5"/>
    <p:sldId id="2147469687" r:id="rId6"/>
    <p:sldId id="2147469688" r:id="rId7"/>
    <p:sldId id="2147469689" r:id="rId8"/>
    <p:sldId id="2147469690" r:id="rId9"/>
    <p:sldId id="2147469691" r:id="rId10"/>
    <p:sldId id="344" r:id="rId11"/>
  </p:sldIdLst>
  <p:sldSz cx="24382413" cy="13716000"/>
  <p:notesSz cx="6858000" cy="9144000"/>
  <p:defaultTextStyle>
    <a:defPPr>
      <a:defRPr lang="en-US"/>
    </a:defPPr>
    <a:lvl1pPr marL="0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2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7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3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8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5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5" algn="l" defTabSz="457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643B"/>
    <a:srgbClr val="55BEDF"/>
    <a:srgbClr val="1584B4"/>
    <a:srgbClr val="FFFFFF"/>
    <a:srgbClr val="8EA6BD"/>
    <a:srgbClr val="004E70"/>
    <a:srgbClr val="F9DEB4"/>
    <a:srgbClr val="DBC9E5"/>
    <a:srgbClr val="846A92"/>
    <a:srgbClr val="ECCB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146"/>
    <p:restoredTop sz="95165" autoAdjust="0"/>
  </p:normalViewPr>
  <p:slideViewPr>
    <p:cSldViewPr snapToGrid="0" snapToObjects="1">
      <p:cViewPr varScale="1">
        <p:scale>
          <a:sx n="38" d="100"/>
          <a:sy n="38" d="100"/>
        </p:scale>
        <p:origin x="96" y="178"/>
      </p:cViewPr>
      <p:guideLst/>
    </p:cSldViewPr>
  </p:slideViewPr>
  <p:outlineViewPr>
    <p:cViewPr>
      <p:scale>
        <a:sx n="33" d="100"/>
        <a:sy n="33" d="100"/>
      </p:scale>
      <p:origin x="0" y="-9792"/>
    </p:cViewPr>
  </p:outlineViewPr>
  <p:notesTextViewPr>
    <p:cViewPr>
      <p:scale>
        <a:sx n="114" d="100"/>
        <a:sy n="114" d="100"/>
      </p:scale>
      <p:origin x="0" y="0"/>
    </p:cViewPr>
  </p:notesTextViewPr>
  <p:sorterViewPr>
    <p:cViewPr>
      <p:scale>
        <a:sx n="90" d="100"/>
        <a:sy n="90" d="100"/>
      </p:scale>
      <p:origin x="0" y="-33900"/>
    </p:cViewPr>
  </p:sorterViewPr>
  <p:notesViewPr>
    <p:cSldViewPr snapToGrid="0" snapToObjects="1">
      <p:cViewPr varScale="1">
        <p:scale>
          <a:sx n="118" d="100"/>
          <a:sy n="118" d="100"/>
        </p:scale>
        <p:origin x="344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0FB287-45EC-2445-A678-68C79F2416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Oracle Sans Light" panose="020B0403020204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AE833-58C5-6343-B0DA-A7DEDF7A27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7838C6-95CA-D143-8B9C-84E1411C3F4E}" type="datetimeFigureOut">
              <a:rPr lang="en-US" smtClean="0">
                <a:latin typeface="Oracle Sans Light" panose="020B0403020204020204" pitchFamily="34" charset="0"/>
              </a:rPr>
              <a:t>8/1/2024</a:t>
            </a:fld>
            <a:endParaRPr lang="en-US" dirty="0">
              <a:latin typeface="Oracle Sans Light" panose="020B04030202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0B1E7-3D32-364C-9083-F307C3821A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Oracle Sans Light" panose="020B0403020204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B56489-4C2A-3640-BA1F-0F1DE89861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D5F5F-F29C-B745-88CB-EDFD836A1044}" type="slidenum">
              <a:rPr lang="en-US" smtClean="0">
                <a:latin typeface="Oracle Sans Light" panose="020B0403020204020204" pitchFamily="34" charset="0"/>
              </a:rPr>
              <a:t>‹#›</a:t>
            </a:fld>
            <a:endParaRPr lang="en-US" dirty="0">
              <a:latin typeface="Oracle Sans Light" panose="020B04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6796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Oracle Sans Light" panose="020B04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Oracle Sans Light" panose="020B0403020204020204" pitchFamily="34" charset="0"/>
              </a:defRPr>
            </a:lvl1pPr>
          </a:lstStyle>
          <a:p>
            <a:fld id="{1337EC0F-5AC5-F743-872E-19E7E4F2116D}" type="datetimeFigureOut">
              <a:rPr lang="en-US" smtClean="0"/>
              <a:pPr/>
              <a:t>8/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Oracle Sans Light" panose="020B04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Oracle Sans Light" panose="020B0403020204020204" pitchFamily="34" charset="0"/>
              </a:defRPr>
            </a:lvl1pPr>
          </a:lstStyle>
          <a:p>
            <a:fld id="{DFCD2175-244A-4246-9480-7E91947D607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552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573" rtl="0" eaLnBrk="1" latinLnBrk="0" hangingPunct="1">
      <a:defRPr sz="2400" kern="1200">
        <a:solidFill>
          <a:schemeClr val="tx1"/>
        </a:solidFill>
        <a:latin typeface="Oracle Sans Light" panose="020B0403020204020204" pitchFamily="34" charset="0"/>
        <a:ea typeface="+mn-ea"/>
        <a:cs typeface="+mn-cs"/>
      </a:defRPr>
    </a:lvl1pPr>
    <a:lvl2pPr marL="914286" algn="l" defTabSz="1828573" rtl="0" eaLnBrk="1" latinLnBrk="0" hangingPunct="1">
      <a:defRPr sz="2400" kern="1200">
        <a:solidFill>
          <a:schemeClr val="tx1"/>
        </a:solidFill>
        <a:latin typeface="Oracle Sans Light" panose="020B0403020204020204" pitchFamily="34" charset="0"/>
        <a:ea typeface="+mn-ea"/>
        <a:cs typeface="+mn-cs"/>
      </a:defRPr>
    </a:lvl2pPr>
    <a:lvl3pPr marL="1828573" algn="l" defTabSz="1828573" rtl="0" eaLnBrk="1" latinLnBrk="0" hangingPunct="1">
      <a:defRPr sz="2400" kern="1200">
        <a:solidFill>
          <a:schemeClr val="tx1"/>
        </a:solidFill>
        <a:latin typeface="Oracle Sans Light" panose="020B0403020204020204" pitchFamily="34" charset="0"/>
        <a:ea typeface="+mn-ea"/>
        <a:cs typeface="+mn-cs"/>
      </a:defRPr>
    </a:lvl3pPr>
    <a:lvl4pPr marL="2742859" algn="l" defTabSz="1828573" rtl="0" eaLnBrk="1" latinLnBrk="0" hangingPunct="1">
      <a:defRPr sz="2400" kern="1200">
        <a:solidFill>
          <a:schemeClr val="tx1"/>
        </a:solidFill>
        <a:latin typeface="Oracle Sans Light" panose="020B0403020204020204" pitchFamily="34" charset="0"/>
        <a:ea typeface="+mn-ea"/>
        <a:cs typeface="+mn-cs"/>
      </a:defRPr>
    </a:lvl4pPr>
    <a:lvl5pPr marL="3657141" algn="l" defTabSz="1828573" rtl="0" eaLnBrk="1" latinLnBrk="0" hangingPunct="1">
      <a:defRPr sz="2400" kern="1200">
        <a:solidFill>
          <a:schemeClr val="tx1"/>
        </a:solidFill>
        <a:latin typeface="Oracle Sans Light" panose="020B0403020204020204" pitchFamily="34" charset="0"/>
        <a:ea typeface="+mn-ea"/>
        <a:cs typeface="+mn-cs"/>
      </a:defRPr>
    </a:lvl5pPr>
    <a:lvl6pPr marL="4571427" algn="l" defTabSz="182857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714" algn="l" defTabSz="182857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000" algn="l" defTabSz="182857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286" algn="l" defTabSz="182857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58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572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687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9609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953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90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4904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CD2175-244A-4246-9480-7E91947D607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739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jpeg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5361" y="3202685"/>
            <a:ext cx="21356652" cy="9151246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/>
            </a:lvl1pPr>
            <a:lvl2pPr marL="1371451" indent="-457165">
              <a:lnSpc>
                <a:spcPct val="110000"/>
              </a:lnSpc>
              <a:buFont typeface="Arial" panose="020B0604020202020204" pitchFamily="34" charset="0"/>
              <a:buChar char="•"/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>
              <a:lnSpc>
                <a:spcPct val="110000"/>
              </a:lnSpc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10000"/>
              </a:lnSpc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10000"/>
              </a:lnSpc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1F565F-C650-8B42-8ACA-2A6E7A716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762013" y="12898104"/>
            <a:ext cx="817081" cy="827424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A3EC41B-4860-B74A-86FB-0C3EE4D64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3B5AC7-6F5F-7845-871D-780A517317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FD534B7-53CC-3F75-0FE1-15E0D66DB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8" y="1185361"/>
            <a:ext cx="21366273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309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F5E45AE-C3C7-06CC-6FBB-C88300211C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33060" y="6857999"/>
            <a:ext cx="4995434" cy="411480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lang="en-US" sz="4200" b="0" i="0" kern="1200" dirty="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28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465138" indent="-225425">
              <a:lnSpc>
                <a:spcPct val="110000"/>
              </a:lnSpc>
              <a:spcBef>
                <a:spcPts val="600"/>
              </a:spcBef>
              <a:tabLst/>
              <a:defRPr sz="24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CD37142-C7BE-08DC-05B7-88F12BFC10A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860762" y="6857999"/>
            <a:ext cx="4995434" cy="411480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lang="en-US" sz="4200" b="0" i="0" kern="1200" dirty="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28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465138" indent="-225425">
              <a:lnSpc>
                <a:spcPct val="110000"/>
              </a:lnSpc>
              <a:spcBef>
                <a:spcPts val="600"/>
              </a:spcBef>
              <a:tabLst/>
              <a:defRPr sz="24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207C607-70AD-7F0C-F738-742405937B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8588466" y="6857999"/>
            <a:ext cx="4995434" cy="411480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lang="en-US" sz="4200" b="0" i="0" kern="1200" dirty="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28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465138" indent="-225425">
              <a:lnSpc>
                <a:spcPct val="110000"/>
              </a:lnSpc>
              <a:spcBef>
                <a:spcPts val="600"/>
              </a:spcBef>
              <a:tabLst/>
              <a:defRPr sz="24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4D387F6-79D5-6593-F36C-3669E8A1F0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05358" y="6857999"/>
            <a:ext cx="4995434" cy="411480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lang="en-US" sz="4200" b="0" i="0" kern="1200" dirty="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28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465138" indent="-225425">
              <a:lnSpc>
                <a:spcPct val="110000"/>
              </a:lnSpc>
              <a:spcBef>
                <a:spcPts val="600"/>
              </a:spcBef>
              <a:tabLst/>
              <a:defRPr sz="2400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20000"/>
              </a:lnSpc>
              <a:spcBef>
                <a:spcPts val="600"/>
              </a:spcBef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C288D0F-976D-FD2B-C2CD-26FF0AC6235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49152" y="12985749"/>
            <a:ext cx="871646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C5B5BA67-55F7-DCDA-3279-94CB8F6915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411345" y="12985749"/>
            <a:ext cx="10052413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2AE2127-C64A-5BDC-3E7E-77BEDF134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8" y="1185357"/>
            <a:ext cx="21366272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2FC4F9EF-C50B-F3BD-FB3E-A5E799D2E0D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404938" y="4946567"/>
            <a:ext cx="1370012" cy="13700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Optional Ic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4E522FC7-DEEA-5811-9A38-9FFBAB1F4B5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133060" y="4946567"/>
            <a:ext cx="1370012" cy="1370012"/>
          </a:xfrm>
        </p:spPr>
        <p:txBody>
          <a:bodyPr>
            <a:normAutofit/>
          </a:bodyPr>
          <a:lstStyle>
            <a:lvl1pPr marL="0" marR="0" indent="0" algn="l" defTabSz="1828709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ptional Icon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7CA9A184-6B68-1F6C-2349-02C98BA21A6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2860762" y="4946567"/>
            <a:ext cx="1370012" cy="1370012"/>
          </a:xfrm>
        </p:spPr>
        <p:txBody>
          <a:bodyPr>
            <a:normAutofit/>
          </a:bodyPr>
          <a:lstStyle>
            <a:lvl1pPr marL="0" marR="0" indent="0" algn="l" defTabSz="1828709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ptional Icon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2B31E744-A71B-2B51-6A15-F6AB9A915A7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8588466" y="4946567"/>
            <a:ext cx="1370012" cy="1370012"/>
          </a:xfrm>
        </p:spPr>
        <p:txBody>
          <a:bodyPr>
            <a:normAutofit/>
          </a:bodyPr>
          <a:lstStyle>
            <a:lvl1pPr marL="0" marR="0" indent="0" algn="l" defTabSz="1828709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ptional Icon</a:t>
            </a:r>
          </a:p>
        </p:txBody>
      </p:sp>
    </p:spTree>
    <p:extLst>
      <p:ext uri="{BB962C8B-B14F-4D97-AF65-F5344CB8AC3E}">
        <p14:creationId xmlns:p14="http://schemas.microsoft.com/office/powerpoint/2010/main" val="203151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Cloud">
            <a:extLst>
              <a:ext uri="{FF2B5EF4-FFF2-40B4-BE49-F238E27FC236}">
                <a16:creationId xmlns:a16="http://schemas.microsoft.com/office/drawing/2014/main" id="{26C48C61-C945-46B0-BC5F-E47874C630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3" b="29623"/>
          <a:stretch/>
        </p:blipFill>
        <p:spPr>
          <a:xfrm>
            <a:off x="13389056" y="581246"/>
            <a:ext cx="10203144" cy="3076340"/>
          </a:xfrm>
          <a:prstGeom prst="rect">
            <a:avLst/>
          </a:prstGeom>
        </p:spPr>
      </p:pic>
      <p:sp>
        <p:nvSpPr>
          <p:cNvPr id="14" name="Title">
            <a:extLst>
              <a:ext uri="{FF2B5EF4-FFF2-40B4-BE49-F238E27FC236}">
                <a16:creationId xmlns:a16="http://schemas.microsoft.com/office/drawing/2014/main" id="{C5B988DC-BF6C-334D-85AD-4F0BEE2F33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3901" y="1016001"/>
            <a:ext cx="21340707" cy="984206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48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2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C0004EB-159B-A345-859C-0E83416ED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901" y="2048470"/>
            <a:ext cx="21340707" cy="66108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Aft>
                <a:spcPts val="0"/>
              </a:spcAft>
              <a:buNone/>
              <a:defRPr sz="4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A7E286-6F34-C745-B594-99BF177EC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23901" y="12847320"/>
            <a:ext cx="731472" cy="7315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0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">
            <a:extLst>
              <a:ext uri="{FF2B5EF4-FFF2-40B4-BE49-F238E27FC236}">
                <a16:creationId xmlns:a16="http://schemas.microsoft.com/office/drawing/2014/main" id="{9B38191F-5718-D34F-A1D1-D1C28CE0A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5372" y="12847957"/>
            <a:ext cx="11490010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000">
                <a:solidFill>
                  <a:srgbClr val="8B8580"/>
                </a:solidFill>
              </a:defRPr>
            </a:lvl1pPr>
          </a:lstStyle>
          <a:p>
            <a:r>
              <a:rPr lang="en-US"/>
              <a:t>Copyright © 2024, Oracle and/or its affiliates</a:t>
            </a:r>
            <a:endParaRPr lang="en-US" dirty="0"/>
          </a:p>
        </p:txBody>
      </p:sp>
      <p:sp>
        <p:nvSpPr>
          <p:cNvPr id="2" name="Date">
            <a:extLst>
              <a:ext uri="{FF2B5EF4-FFF2-40B4-BE49-F238E27FC236}">
                <a16:creationId xmlns:a16="http://schemas.microsoft.com/office/drawing/2014/main" id="{98B76A7F-F012-4E7A-8F57-5A0BFEF019F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3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tabase Light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Tag">
            <a:extLst>
              <a:ext uri="{FF2B5EF4-FFF2-40B4-BE49-F238E27FC236}">
                <a16:creationId xmlns:a16="http://schemas.microsoft.com/office/drawing/2014/main" id="{7BFEFC66-2347-E947-A49E-DD43E74CCC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4768" y="12710160"/>
            <a:ext cx="1005775" cy="1005840"/>
          </a:xfrm>
          <a:prstGeom prst="rect">
            <a:avLst/>
          </a:prstGeom>
        </p:spPr>
      </p:pic>
      <p:pic>
        <p:nvPicPr>
          <p:cNvPr id="12" name="Oracle Logo" descr="Oracle Logo">
            <a:extLst>
              <a:ext uri="{FF2B5EF4-FFF2-40B4-BE49-F238E27FC236}">
                <a16:creationId xmlns:a16="http://schemas.microsoft.com/office/drawing/2014/main" id="{37E7F181-1615-4A41-B1E8-B9FF5CDED0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89776" y="2264736"/>
            <a:ext cx="3049588" cy="640080"/>
          </a:xfrm>
          <a:prstGeom prst="rect">
            <a:avLst/>
          </a:prstGeom>
        </p:spPr>
      </p:pic>
      <p:sp>
        <p:nvSpPr>
          <p:cNvPr id="24" name="Title">
            <a:extLst>
              <a:ext uri="{FF2B5EF4-FFF2-40B4-BE49-F238E27FC236}">
                <a16:creationId xmlns:a16="http://schemas.microsoft.com/office/drawing/2014/main" id="{461BB5F1-8825-7944-96EB-8445317513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5927" y="4297680"/>
            <a:ext cx="20316646" cy="2560320"/>
          </a:xfrm>
          <a:noFill/>
        </p:spPr>
        <p:txBody>
          <a:bodyPr vert="horz" wrap="square" lIns="0" tIns="0" rIns="0" bIns="91440" rtlCol="0" anchor="b">
            <a:noAutofit/>
          </a:bodyPr>
          <a:lstStyle>
            <a:lvl1pPr>
              <a:defRPr lang="en-US" sz="8000" b="0" dirty="0"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Database (up to two lines) </a:t>
            </a:r>
            <a:br>
              <a:rPr lang="en-US" dirty="0"/>
            </a:br>
            <a:r>
              <a:rPr lang="en-US" dirty="0"/>
              <a:t>Georgia Regular 40pt</a:t>
            </a:r>
          </a:p>
        </p:txBody>
      </p:sp>
      <p:sp>
        <p:nvSpPr>
          <p:cNvPr id="25" name="Subhead">
            <a:extLst>
              <a:ext uri="{FF2B5EF4-FFF2-40B4-BE49-F238E27FC236}">
                <a16:creationId xmlns:a16="http://schemas.microsoft.com/office/drawing/2014/main" id="{DE85AE1C-733D-7244-A6DA-C3ADBC76ED0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35927" y="7039107"/>
            <a:ext cx="20316646" cy="682494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marR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800" b="0">
                <a:solidFill>
                  <a:srgbClr val="464F4F"/>
                </a:solidFill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goes here on one line</a:t>
            </a:r>
          </a:p>
        </p:txBody>
      </p:sp>
      <p:sp>
        <p:nvSpPr>
          <p:cNvPr id="11" name="Text Field">
            <a:extLst>
              <a:ext uri="{FF2B5EF4-FFF2-40B4-BE49-F238E27FC236}">
                <a16:creationId xmlns:a16="http://schemas.microsoft.com/office/drawing/2014/main" id="{5096A149-B6C9-A04E-A2B0-54CCFAA42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35927" y="9089137"/>
            <a:ext cx="10155279" cy="53258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 Field 2">
            <a:extLst>
              <a:ext uri="{FF2B5EF4-FFF2-40B4-BE49-F238E27FC236}">
                <a16:creationId xmlns:a16="http://schemas.microsoft.com/office/drawing/2014/main" id="{A57492F9-1AD2-9346-9BB6-C0CF36DEF5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35927" y="9765793"/>
            <a:ext cx="10155279" cy="179036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Organization, Division or Business Unit</a:t>
            </a:r>
          </a:p>
          <a:p>
            <a:pPr lvl="0"/>
            <a:r>
              <a:rPr lang="en-US" dirty="0"/>
              <a:t>Month 00, 2019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E6D7C6-18B9-45E9-BC88-5820977E7B17}"/>
              </a:ext>
            </a:extLst>
          </p:cNvPr>
          <p:cNvPicPr preferRelativeResize="0"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384023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1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ight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1206" y="0"/>
            <a:ext cx="12191207" cy="13716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191206" y="0"/>
            <a:ext cx="12191207" cy="13716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6090" y="4692366"/>
            <a:ext cx="8514898" cy="448578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8000" b="0" i="0">
                <a:solidFill>
                  <a:srgbClr val="4E3629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6090" y="10479292"/>
            <a:ext cx="8514898" cy="498692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2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36090" y="11129339"/>
            <a:ext cx="8514898" cy="1057134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 userDrawn="1"/>
        </p:nvSpPr>
        <p:spPr>
          <a:xfrm>
            <a:off x="1536092" y="9659060"/>
            <a:ext cx="621752" cy="731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EF0904C-A879-D843-B633-25611F0A9B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872905" y="12712700"/>
            <a:ext cx="1003235" cy="10033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411D17-F083-41F6-918B-798D71F778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24, Oracle and/or its affiliat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0E5B1C-BBF2-49B4-9888-69F0DADBB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10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4C6057C-2CDD-0F3D-498A-94548A4CB51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405359" y="3756075"/>
            <a:ext cx="21029831" cy="7853798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>
                <a:solidFill>
                  <a:schemeClr val="tx2"/>
                </a:solidFill>
              </a:defRPr>
            </a:lvl1pPr>
            <a:lvl2pPr marL="1371451" indent="-457165">
              <a:lnSpc>
                <a:spcPct val="110000"/>
              </a:lnSpc>
              <a:buFont typeface="Arial" panose="020B0604020202020204" pitchFamily="34" charset="0"/>
              <a:buChar char="•"/>
              <a:defRPr b="0" i="0">
                <a:solidFill>
                  <a:schemeClr val="accent6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>
              <a:lnSpc>
                <a:spcPct val="110000"/>
              </a:lnSpc>
              <a:defRPr b="0" i="0">
                <a:solidFill>
                  <a:schemeClr val="accent6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10000"/>
              </a:lnSpc>
              <a:defRPr b="0" i="0">
                <a:solidFill>
                  <a:schemeClr val="accent6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10000"/>
              </a:lnSpc>
              <a:defRPr b="0" i="0">
                <a:solidFill>
                  <a:schemeClr val="accent6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AB0DCB-C69D-6340-99B8-8C9CB46EC9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4939" y="2653503"/>
            <a:ext cx="21340763" cy="919694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2400">
                <a:solidFill>
                  <a:schemeClr val="accent6"/>
                </a:solidFill>
              </a:defRPr>
            </a:lvl1pPr>
            <a:lvl2pPr marL="914286" indent="0">
              <a:buNone/>
              <a:defRPr sz="2400">
                <a:solidFill>
                  <a:schemeClr val="bg1"/>
                </a:solidFill>
              </a:defRPr>
            </a:lvl2pPr>
            <a:lvl3pPr marL="1828573" indent="0">
              <a:buNone/>
              <a:defRPr sz="2400">
                <a:solidFill>
                  <a:schemeClr val="bg1"/>
                </a:solidFill>
              </a:defRPr>
            </a:lvl3pPr>
            <a:lvl4pPr marL="2742859" indent="0">
              <a:buNone/>
              <a:defRPr sz="2400">
                <a:solidFill>
                  <a:schemeClr val="bg1"/>
                </a:solidFill>
              </a:defRPr>
            </a:lvl4pPr>
            <a:lvl5pPr marL="36571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A28D6B-0C23-2B4C-9186-49C7F7FACA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762013" y="12898104"/>
            <a:ext cx="817081" cy="827424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4407BE6-DE22-B14A-B263-DA6D07F9A25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32AA369-A7B9-0C4E-8948-88763781D1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1F05B8D-73DC-4174-192C-565ED6DE1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8" y="1185361"/>
            <a:ext cx="21366273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681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8436794-817D-8215-AE8C-BF68CE26D76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12190416" y="3202685"/>
            <a:ext cx="10555287" cy="916731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lang="en-US" sz="4200" b="0" i="0" kern="1200" dirty="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431968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702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1079920" indent="-359974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spcBef>
                <a:spcPts val="600"/>
              </a:spcBef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spcBef>
                <a:spcPts val="600"/>
              </a:spcBef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0F962640-4C62-2C44-8892-FD3FA71F23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D3066DF-D70B-C243-B97E-BB75E8819D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60694D9-4522-FDF6-01BB-4BB2193A8C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371604" y="3202685"/>
            <a:ext cx="10324302" cy="916731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lang="en-US" sz="4200" b="0" i="0" kern="1200" dirty="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431968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702"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1079920" indent="-359974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b="0" i="0">
                <a:solidFill>
                  <a:schemeClr val="tx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spcBef>
                <a:spcPts val="600"/>
              </a:spcBef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spcBef>
                <a:spcPts val="600"/>
              </a:spcBef>
              <a:defRPr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D58F5CB-79E5-7D0E-F4CE-A31B01364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8" y="1185361"/>
            <a:ext cx="21366273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469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0BF6EE-0304-104C-9AC8-6BF47B9E96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95846" y="8862477"/>
            <a:ext cx="9874983" cy="2560274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4200" b="0" i="0">
                <a:solidFill>
                  <a:schemeClr val="tx2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465105" indent="-225407">
              <a:lnSpc>
                <a:spcPct val="110000"/>
              </a:lnSpc>
              <a:tabLst/>
              <a:defRPr sz="24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2742859" indent="0">
              <a:lnSpc>
                <a:spcPct val="120000"/>
              </a:lnSpc>
              <a:buNone/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20000"/>
              </a:lnSpc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D1466F-8A9A-9B46-B59E-318F36B1F26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B6D93C-CDB8-A940-A562-75736ACA66B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3F5A712E-93F4-E61A-A070-510F9A85C22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95850" y="3202682"/>
            <a:ext cx="9848541" cy="5325488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mage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08E7D9F7-F723-E6E9-9EA8-43FF4A48A5F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2897164" y="3202682"/>
            <a:ext cx="9848541" cy="5325488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mag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8FC9A2F-4786-37F4-8980-69302E830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8" y="1185361"/>
            <a:ext cx="21366273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B19EC57-00AD-B3AE-36F9-0114EF7C55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7162" y="8862477"/>
            <a:ext cx="9874983" cy="2560274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4200" b="0" i="0">
                <a:solidFill>
                  <a:schemeClr val="tx2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 marL="465105" indent="-225407">
              <a:lnSpc>
                <a:spcPct val="110000"/>
              </a:lnSpc>
              <a:tabLst/>
              <a:defRPr sz="24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 marL="2742859" indent="0">
              <a:lnSpc>
                <a:spcPct val="120000"/>
              </a:lnSpc>
              <a:buNone/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20000"/>
              </a:lnSpc>
              <a:defRPr sz="28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900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Stat –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B942022-9F0A-BD4C-AF43-752FEFC469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35801" y="3582041"/>
            <a:ext cx="9864196" cy="4037962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None/>
              <a:defRPr sz="9600" b="0" i="0">
                <a:solidFill>
                  <a:schemeClr val="tx2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4200">
                <a:solidFill>
                  <a:schemeClr val="accent4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70B7AF-2FF6-4245-87E1-EF6ED5D1497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35803" y="7620001"/>
            <a:ext cx="9381067" cy="3894666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buNone/>
              <a:defRPr>
                <a:solidFill>
                  <a:schemeClr val="accent4"/>
                </a:solidFill>
              </a:defRPr>
            </a:lvl2pPr>
            <a:lvl3pPr marL="1828573" indent="0">
              <a:buNone/>
              <a:defRPr/>
            </a:lvl3pPr>
            <a:lvl4pPr marL="2742859" indent="0">
              <a:buNone/>
              <a:defRPr/>
            </a:lvl4pPr>
            <a:lvl5pPr marL="365714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27683C2-9D30-2E48-BA64-3331000C43B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0500B-357F-8A44-9FD4-31A4240DD5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9FF912-92E2-8588-8282-F3105EDE2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9" y="1185361"/>
            <a:ext cx="16570947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854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1292" y="730253"/>
            <a:ext cx="21029831" cy="180193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5359" y="3756075"/>
            <a:ext cx="21029831" cy="7853798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 marL="1371451" indent="-457165">
              <a:lnSpc>
                <a:spcPct val="110000"/>
              </a:lnSpc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2pPr>
            <a:lvl3pPr>
              <a:lnSpc>
                <a:spcPct val="110000"/>
              </a:lnSpc>
              <a:defRPr b="0" i="0">
                <a:solidFill>
                  <a:schemeClr val="bg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3pPr>
            <a:lvl4pPr>
              <a:lnSpc>
                <a:spcPct val="110000"/>
              </a:lnSpc>
              <a:defRPr b="0" i="0">
                <a:solidFill>
                  <a:schemeClr val="bg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4pPr>
            <a:lvl5pPr>
              <a:lnSpc>
                <a:spcPct val="110000"/>
              </a:lnSpc>
              <a:defRPr b="0" i="0">
                <a:solidFill>
                  <a:schemeClr val="bg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AB0DCB-C69D-6340-99B8-8C9CB46EC9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4939" y="2658792"/>
            <a:ext cx="21029831" cy="844064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2400">
                <a:solidFill>
                  <a:schemeClr val="bg1"/>
                </a:solidFill>
              </a:defRPr>
            </a:lvl1pPr>
            <a:lvl2pPr marL="914286" indent="0">
              <a:buNone/>
              <a:defRPr sz="2400">
                <a:solidFill>
                  <a:schemeClr val="bg1"/>
                </a:solidFill>
              </a:defRPr>
            </a:lvl2pPr>
            <a:lvl3pPr marL="1828573" indent="0">
              <a:buNone/>
              <a:defRPr sz="2400">
                <a:solidFill>
                  <a:schemeClr val="bg1"/>
                </a:solidFill>
              </a:defRPr>
            </a:lvl3pPr>
            <a:lvl4pPr marL="2742859" indent="0">
              <a:buNone/>
              <a:defRPr sz="2400">
                <a:solidFill>
                  <a:schemeClr val="bg1"/>
                </a:solidFill>
              </a:defRPr>
            </a:lvl4pPr>
            <a:lvl5pPr marL="36571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6AEA4FF-BACA-BA4F-89CB-FC3F1D2CE9E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ADED9E4-F1CC-9B46-BFE2-3D74F4B25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581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e Char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4C6D899-C5D3-0B4A-943D-4D8479B3362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1422402" y="3202685"/>
            <a:ext cx="21302133" cy="926025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C971071-D8C9-1148-AC19-A76F0891A0F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769FD8-EA6A-374E-BAEF-F380CFD9C8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EBB663F-5E45-E898-D800-B1C50BC1A8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621002" y="4356814"/>
            <a:ext cx="6240464" cy="60960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2800" b="1" i="0">
                <a:solidFill>
                  <a:schemeClr val="bg1"/>
                </a:solidFill>
                <a:latin typeface="Oracle Sans Semi Bold" panose="020B0503020204020204" pitchFamily="34" charset="0"/>
                <a:cs typeface="Oracle Sans Semi Bold" panose="020B0503020204020204" pitchFamily="34" charset="0"/>
              </a:defRPr>
            </a:lvl1pPr>
            <a:lvl2pPr>
              <a:lnSpc>
                <a:spcPct val="110000"/>
              </a:lnSpc>
              <a:spcBef>
                <a:spcPts val="1400"/>
              </a:spcBef>
              <a:defRPr sz="26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83029F8-5138-D07E-1A3D-0BC0F0FCD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428" y="1185361"/>
            <a:ext cx="21366273" cy="135198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212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loud">
            <a:extLst>
              <a:ext uri="{FF2B5EF4-FFF2-40B4-BE49-F238E27FC236}">
                <a16:creationId xmlns:a16="http://schemas.microsoft.com/office/drawing/2014/main" id="{A52109B5-4152-894B-9BF6-17B5458CC9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410590" y="538718"/>
            <a:ext cx="10160077" cy="311888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F9AACE-800A-E4F6-3FEC-30BA9D1DE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FED3A-D1CE-5A42-49FA-8F79C6E6DA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A1CA97-D36B-E7A2-6DD5-C089B83D28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56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ght - Title 2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loud">
            <a:extLst>
              <a:ext uri="{FF2B5EF4-FFF2-40B4-BE49-F238E27FC236}">
                <a16:creationId xmlns:a16="http://schemas.microsoft.com/office/drawing/2014/main" id="{5B8024F8-E03D-9641-AA75-22D1B5C84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10590" y="538718"/>
            <a:ext cx="10160077" cy="3118884"/>
          </a:xfrm>
          <a:prstGeom prst="rect">
            <a:avLst/>
          </a:prstGeom>
        </p:spPr>
      </p:pic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537650" y="3217150"/>
            <a:ext cx="10167466" cy="90159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cxnSp>
        <p:nvCxnSpPr>
          <p:cNvPr id="15" name="Column Divider" descr="Column Divider">
            <a:extLst>
              <a:ext uri="{FF2B5EF4-FFF2-40B4-BE49-F238E27FC236}">
                <a16:creationId xmlns:a16="http://schemas.microsoft.com/office/drawing/2014/main" id="{C3377C95-3E35-473F-8E81-1FDFBEBC758A}"/>
              </a:ext>
            </a:extLst>
          </p:cNvPr>
          <p:cNvCxnSpPr>
            <a:cxnSpLocks/>
          </p:cNvCxnSpPr>
          <p:nvPr userDrawn="1"/>
        </p:nvCxnSpPr>
        <p:spPr>
          <a:xfrm>
            <a:off x="12218359" y="3217150"/>
            <a:ext cx="0" cy="9015984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2">
            <a:extLst>
              <a:ext uri="{FF2B5EF4-FFF2-40B4-BE49-F238E27FC236}">
                <a16:creationId xmlns:a16="http://schemas.microsoft.com/office/drawing/2014/main" id="{22A9895A-06CA-46D6-B3EB-7038E64935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31601" y="3217150"/>
            <a:ext cx="10167466" cy="90159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9740FE-E1B8-466B-970A-4E081BCA3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" name="Slide Number Placeholder 11">
            <a:extLst>
              <a:ext uri="{FF2B5EF4-FFF2-40B4-BE49-F238E27FC236}">
                <a16:creationId xmlns:a16="http://schemas.microsoft.com/office/drawing/2014/main" id="{E428691A-6ABC-3D43-3374-50EA823906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49152" y="12985749"/>
            <a:ext cx="871646" cy="730250"/>
          </a:xfrm>
          <a:prstGeom prst="rect">
            <a:avLst/>
          </a:prstGeom>
        </p:spPr>
        <p:txBody>
          <a:bodyPr/>
          <a:lstStyle/>
          <a:p>
            <a:fld id="{CFF4B978-1D82-7745-80C5-DBABA6B131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FB09A718-B713-5007-1A73-62E16A7ED6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411345" y="12985749"/>
            <a:ext cx="10052413" cy="730250"/>
          </a:xfrm>
          <a:prstGeom prst="rect">
            <a:avLst/>
          </a:prstGeom>
        </p:spPr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1038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99187" y="687723"/>
            <a:ext cx="21029831" cy="184283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93199" y="2758115"/>
            <a:ext cx="21029831" cy="87026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8B2F8B-E601-664C-81CF-08F39A110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1349" y="12985751"/>
            <a:ext cx="1005241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0" i="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153" y="12985751"/>
            <a:ext cx="87164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accent4"/>
                </a:solidFill>
                <a:latin typeface="Oracle Sans Light" panose="020B0403020204020204" pitchFamily="34" charset="0"/>
                <a:cs typeface="Oracle Sans Light" panose="020B0403020204020204" pitchFamily="34" charset="0"/>
              </a:defRPr>
            </a:lvl1pPr>
          </a:lstStyle>
          <a:p>
            <a:fld id="{CFF4B978-1D82-7745-80C5-DBABA6B131D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69FCD1-69A5-FED4-307E-566E5D55569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22762013" y="12898104"/>
            <a:ext cx="817081" cy="827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35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29" r:id="rId2"/>
    <p:sldLayoutId id="2147483694" r:id="rId3"/>
    <p:sldLayoutId id="2147483720" r:id="rId4"/>
    <p:sldLayoutId id="2147483723" r:id="rId5"/>
    <p:sldLayoutId id="2147483699" r:id="rId6"/>
    <p:sldLayoutId id="2147483757" r:id="rId7"/>
    <p:sldLayoutId id="2147483815" r:id="rId8"/>
    <p:sldLayoutId id="2147483820" r:id="rId9"/>
    <p:sldLayoutId id="2147483827" r:id="rId10"/>
    <p:sldLayoutId id="2147483830" r:id="rId11"/>
    <p:sldLayoutId id="2147483831" r:id="rId12"/>
    <p:sldLayoutId id="2147483836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828573" rtl="0" eaLnBrk="1" latinLnBrk="0" hangingPunct="1">
        <a:lnSpc>
          <a:spcPct val="90000"/>
        </a:lnSpc>
        <a:spcBef>
          <a:spcPct val="0"/>
        </a:spcBef>
        <a:buNone/>
        <a:defRPr sz="6200" b="0" i="0" kern="1200">
          <a:solidFill>
            <a:schemeClr val="accent4"/>
          </a:solidFill>
          <a:latin typeface="Oracle Sans Light" panose="020B0403020204020204" pitchFamily="34" charset="0"/>
          <a:ea typeface="+mj-ea"/>
          <a:cs typeface="Oracle Sans Light" panose="020B0403020204020204" pitchFamily="34" charset="0"/>
        </a:defRPr>
      </a:lvl1pPr>
    </p:titleStyle>
    <p:bodyStyle>
      <a:lvl1pPr marL="457141" indent="-457141" algn="l" defTabSz="182857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4200" b="0" i="0" kern="1200">
          <a:solidFill>
            <a:schemeClr val="tx2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1pPr>
      <a:lvl2pPr marL="1371427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0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2285714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02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3200000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4114286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5028573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859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141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427" indent="-457141" algn="l" defTabSz="1828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86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573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859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141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427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714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000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286" algn="l" defTabSz="182857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16" userDrawn="1">
          <p15:clr>
            <a:srgbClr val="F26B43"/>
          </p15:clr>
        </p15:guide>
        <p15:guide id="2" pos="14327" userDrawn="1">
          <p15:clr>
            <a:srgbClr val="F26B43"/>
          </p15:clr>
        </p15:guide>
        <p15:guide id="3" pos="14855" userDrawn="1">
          <p15:clr>
            <a:srgbClr val="F26B43"/>
          </p15:clr>
        </p15:guide>
        <p15:guide id="4" pos="864" userDrawn="1">
          <p15:clr>
            <a:srgbClr val="F26B43"/>
          </p15:clr>
        </p15:guide>
        <p15:guide id="5" pos="5376" userDrawn="1">
          <p15:clr>
            <a:srgbClr val="F26B43"/>
          </p15:clr>
        </p15:guide>
        <p15:guide id="6" pos="9839" userDrawn="1">
          <p15:clr>
            <a:srgbClr val="F26B43"/>
          </p15:clr>
        </p15:guide>
        <p15:guide id="7" orient="horz" pos="432" userDrawn="1">
          <p15:clr>
            <a:srgbClr val="F26B43"/>
          </p15:clr>
        </p15:guide>
        <p15:guide id="8" orient="horz" pos="8136" userDrawn="1">
          <p15:clr>
            <a:srgbClr val="F26B43"/>
          </p15:clr>
        </p15:guide>
        <p15:guide id="9" orient="horz" pos="3000" userDrawn="1">
          <p15:clr>
            <a:srgbClr val="F26B43"/>
          </p15:clr>
        </p15:guide>
        <p15:guide id="10" orient="horz" pos="5568" userDrawn="1">
          <p15:clr>
            <a:srgbClr val="F26B43"/>
          </p15:clr>
        </p15:guide>
        <p15:guide id="11" orient="horz" pos="4320" userDrawn="1">
          <p15:clr>
            <a:srgbClr val="5ACBF0"/>
          </p15:clr>
        </p15:guide>
        <p15:guide id="12" pos="7680" userDrawn="1">
          <p15:clr>
            <a:srgbClr val="5ACBF0"/>
          </p15:clr>
        </p15:guide>
        <p15:guide id="13" orient="horz" pos="1728" userDrawn="1">
          <p15:clr>
            <a:srgbClr val="9FCC3B"/>
          </p15:clr>
        </p15:guide>
        <p15:guide id="14" orient="horz" pos="7584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en/database/oracle/property-graph/20.4/spgdg/property-graph-query-language-pgql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docs.oracle.com/en/database/oracle/oracle-rest-data-services/24.1/orddg/graphql-oracle-rest-data-services.html" TargetMode="External"/><Relationship Id="rId4" Type="http://schemas.openxmlformats.org/officeDocument/2006/relationships/hyperlink" Target="https://docs.oracle.com/en/database/oracle/property-graph/24.3/spgdg/sql-property-graphs.html#GUID-B82E61FF-3601-4D9C-99F9-6A5D4FF961E6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E3125-76D3-4624-9859-1262BFAE0F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b="1" dirty="0">
                <a:latin typeface="Oracle Sans Tab" panose="020B0503020204020204" pitchFamily="34" charset="0"/>
                <a:cs typeface="Oracle Sans Tab" panose="020B0503020204020204" pitchFamily="34" charset="0"/>
              </a:rPr>
              <a:t>Oracle Property Graphs</a:t>
            </a:r>
            <a:br>
              <a:rPr lang="pl-PL" dirty="0">
                <a:latin typeface="Oracle Sans Tab" panose="020B0503020204020204" pitchFamily="34" charset="0"/>
                <a:cs typeface="Oracle Sans Tab" panose="020B0503020204020204" pitchFamily="34" charset="0"/>
              </a:rPr>
            </a:br>
            <a:r>
              <a:rPr lang="pl-PL" sz="72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Overview of available options</a:t>
            </a:r>
            <a:endParaRPr lang="en-US" sz="72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BE80C5-FADD-4A87-B4DF-2DD69847834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>
                <a:solidFill>
                  <a:schemeClr val="accent4"/>
                </a:solidFill>
              </a:rPr>
              <a:t>Witold Swierz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04DA5D-54E5-48F5-83D6-43E439C223B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pl-PL" dirty="0">
                <a:solidFill>
                  <a:schemeClr val="accent4"/>
                </a:solidFill>
              </a:rPr>
              <a:t>Converged Database Specialist</a:t>
            </a:r>
            <a:endParaRPr lang="en-US" dirty="0">
              <a:solidFill>
                <a:schemeClr val="accent4"/>
              </a:solidFill>
            </a:endParaRPr>
          </a:p>
          <a:p>
            <a:pPr marL="0" lvl="0" indent="0">
              <a:buNone/>
            </a:pPr>
            <a:r>
              <a:rPr lang="pl-PL" dirty="0">
                <a:solidFill>
                  <a:schemeClr val="accent4"/>
                </a:solidFill>
              </a:rPr>
              <a:t>July, 2024</a:t>
            </a:r>
            <a:endParaRPr lang="en-US" dirty="0">
              <a:solidFill>
                <a:schemeClr val="accent4"/>
              </a:solidFill>
            </a:endParaRPr>
          </a:p>
        </p:txBody>
      </p:sp>
      <p:cxnSp>
        <p:nvCxnSpPr>
          <p:cNvPr id="7" name="Accent Mark">
            <a:extLst>
              <a:ext uri="{FF2B5EF4-FFF2-40B4-BE49-F238E27FC236}">
                <a16:creationId xmlns:a16="http://schemas.microsoft.com/office/drawing/2014/main" id="{5879F051-2F76-445D-B0AB-3251CAD6C8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2046409" y="8375805"/>
            <a:ext cx="749759" cy="0"/>
          </a:xfrm>
          <a:prstGeom prst="line">
            <a:avLst/>
          </a:prstGeom>
          <a:ln w="38100" cap="flat">
            <a:solidFill>
              <a:srgbClr val="FACD6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06FD14F-5048-4223-8394-780386A4B6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3622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06FD14F-5048-4223-8394-780386A4B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5" y="3622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0DD0BC-F1C8-4A4D-9A88-C3FA7D0E5A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7D9BE0-B39E-4332-8645-8EC1C41941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err="1"/>
              <a:t>Thank</a:t>
            </a:r>
            <a:r>
              <a:rPr lang="es-ES"/>
              <a:t> </a:t>
            </a:r>
            <a:r>
              <a:rPr lang="es-ES" err="1"/>
              <a:t>you</a:t>
            </a:r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28F4EE-8CC1-46FE-B7D3-6747FD656E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891F45-C9BC-6B10-475B-1F44631A9D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24, Oracle and/or its affilia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48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1028701" y="2108200"/>
            <a:ext cx="10745692" cy="10993675"/>
          </a:xfrm>
        </p:spPr>
        <p:txBody>
          <a:bodyPr>
            <a:normAutofit fontScale="25000" lnSpcReduction="20000"/>
          </a:bodyPr>
          <a:lstStyle/>
          <a:p>
            <a:pPr marL="457200" lvl="1" indent="-457200">
              <a:lnSpc>
                <a:spcPct val="120000"/>
              </a:lnSpc>
            </a:pPr>
            <a:r>
              <a:rPr lang="en-US" sz="1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ata model</a:t>
            </a:r>
            <a:r>
              <a:rPr lang="pl-PL" sz="1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, which puts a pressure on relationships between data</a:t>
            </a:r>
          </a:p>
          <a:p>
            <a:pPr marL="457200" lvl="1" indent="-457200">
              <a:lnSpc>
                <a:spcPct val="120000"/>
              </a:lnSpc>
            </a:pPr>
            <a:r>
              <a:rPr lang="pl-PL" sz="1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ften used on top of a relational schema</a:t>
            </a:r>
          </a:p>
          <a:p>
            <a:pPr marL="457200" lvl="1" indent="-457200">
              <a:lnSpc>
                <a:spcPct val="120000"/>
              </a:lnSpc>
            </a:pPr>
            <a:r>
              <a:rPr lang="pl-PL" sz="1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vides specific methods of analyzing using edges as traversals between data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28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ath finding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28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Ranking and walking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28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etecting and evaluating communities</a:t>
            </a:r>
          </a:p>
          <a:p>
            <a:pPr marL="365108" lvl="1" indent="-365108">
              <a:lnSpc>
                <a:spcPct val="120000"/>
              </a:lnSpc>
            </a:pPr>
            <a:r>
              <a:rPr lang="pl-PL" sz="1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implify solutions of some relational problems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28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”spaghetti” joins</a:t>
            </a:r>
          </a:p>
          <a:p>
            <a:pPr marL="457200" lvl="1" indent="-457200">
              <a:lnSpc>
                <a:spcPct val="120000"/>
              </a:lnSpc>
            </a:pPr>
            <a:r>
              <a:rPr lang="pl-PL" sz="1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upported by all editions of Oracle Database in all deployment models</a:t>
            </a:r>
          </a:p>
          <a:p>
            <a:pPr marL="1371487" lvl="2" indent="-457200">
              <a:lnSpc>
                <a:spcPct val="120000"/>
              </a:lnSpc>
            </a:pPr>
            <a:r>
              <a:rPr lang="pl-PL" sz="14102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E2, EE, Development/Express</a:t>
            </a:r>
          </a:p>
          <a:p>
            <a:pPr marL="1371487" lvl="2" indent="-457200">
              <a:lnSpc>
                <a:spcPct val="120000"/>
              </a:lnSpc>
            </a:pPr>
            <a:r>
              <a:rPr lang="pl-PL" sz="14102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loud and On-Premises</a:t>
            </a:r>
          </a:p>
          <a:p>
            <a:pPr marL="1371487" lvl="2" indent="-457200">
              <a:lnSpc>
                <a:spcPct val="120000"/>
              </a:lnSpc>
            </a:pPr>
            <a:r>
              <a:rPr lang="pl-PL" sz="14102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o separate license required</a:t>
            </a:r>
          </a:p>
          <a:p>
            <a:pPr marL="0" indent="-914286">
              <a:lnSpc>
                <a:spcPct val="120000"/>
              </a:lnSpc>
            </a:pPr>
            <a:br>
              <a:rPr lang="de-DE" dirty="0"/>
            </a:b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84975" y="614125"/>
            <a:ext cx="21029831" cy="1070677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Property Graphs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39" name="円/楕円 7">
            <a:extLst>
              <a:ext uri="{FF2B5EF4-FFF2-40B4-BE49-F238E27FC236}">
                <a16:creationId xmlns:a16="http://schemas.microsoft.com/office/drawing/2014/main" id="{2BD64EEC-411B-004D-B901-04461ACF20C8}"/>
              </a:ext>
            </a:extLst>
          </p:cNvPr>
          <p:cNvSpPr/>
          <p:nvPr/>
        </p:nvSpPr>
        <p:spPr bwMode="auto">
          <a:xfrm>
            <a:off x="15308933" y="3764318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sp>
        <p:nvSpPr>
          <p:cNvPr id="40" name="円/楕円 8">
            <a:extLst>
              <a:ext uri="{FF2B5EF4-FFF2-40B4-BE49-F238E27FC236}">
                <a16:creationId xmlns:a16="http://schemas.microsoft.com/office/drawing/2014/main" id="{8D4620CA-2657-5442-B7F8-AAA68D362A49}"/>
              </a:ext>
            </a:extLst>
          </p:cNvPr>
          <p:cNvSpPr/>
          <p:nvPr/>
        </p:nvSpPr>
        <p:spPr bwMode="auto">
          <a:xfrm>
            <a:off x="20299791" y="5846130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sp>
        <p:nvSpPr>
          <p:cNvPr id="41" name="円/楕円 9">
            <a:extLst>
              <a:ext uri="{FF2B5EF4-FFF2-40B4-BE49-F238E27FC236}">
                <a16:creationId xmlns:a16="http://schemas.microsoft.com/office/drawing/2014/main" id="{C8623BDF-9427-DB40-B990-D0B0DA64DA9D}"/>
              </a:ext>
            </a:extLst>
          </p:cNvPr>
          <p:cNvSpPr/>
          <p:nvPr/>
        </p:nvSpPr>
        <p:spPr bwMode="auto">
          <a:xfrm>
            <a:off x="17856297" y="8025396"/>
            <a:ext cx="1439906" cy="1439906"/>
          </a:xfrm>
          <a:prstGeom prst="ellipse">
            <a:avLst/>
          </a:prstGeom>
          <a:ln w="25400"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sp>
        <p:nvSpPr>
          <p:cNvPr id="42" name="円/楕円 10">
            <a:extLst>
              <a:ext uri="{FF2B5EF4-FFF2-40B4-BE49-F238E27FC236}">
                <a16:creationId xmlns:a16="http://schemas.microsoft.com/office/drawing/2014/main" id="{1E20AAE3-FD75-354F-BF31-4933B621B915}"/>
              </a:ext>
            </a:extLst>
          </p:cNvPr>
          <p:cNvSpPr/>
          <p:nvPr/>
        </p:nvSpPr>
        <p:spPr bwMode="auto">
          <a:xfrm>
            <a:off x="12731601" y="4898046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sp>
        <p:nvSpPr>
          <p:cNvPr id="43" name="円/楕円 29">
            <a:extLst>
              <a:ext uri="{FF2B5EF4-FFF2-40B4-BE49-F238E27FC236}">
                <a16:creationId xmlns:a16="http://schemas.microsoft.com/office/drawing/2014/main" id="{17822338-0D92-5B41-B06B-D9E611FEDFD1}"/>
              </a:ext>
            </a:extLst>
          </p:cNvPr>
          <p:cNvSpPr/>
          <p:nvPr/>
        </p:nvSpPr>
        <p:spPr bwMode="auto">
          <a:xfrm>
            <a:off x="15326552" y="6341244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sp>
        <p:nvSpPr>
          <p:cNvPr id="44" name="円/楕円 30">
            <a:extLst>
              <a:ext uri="{FF2B5EF4-FFF2-40B4-BE49-F238E27FC236}">
                <a16:creationId xmlns:a16="http://schemas.microsoft.com/office/drawing/2014/main" id="{F41EE46A-1ADA-CE40-A34D-11F3BA658BC6}"/>
              </a:ext>
            </a:extLst>
          </p:cNvPr>
          <p:cNvSpPr/>
          <p:nvPr/>
        </p:nvSpPr>
        <p:spPr bwMode="auto">
          <a:xfrm>
            <a:off x="13107583" y="8408055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Company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cxnSp>
        <p:nvCxnSpPr>
          <p:cNvPr id="45" name="直線矢印コネクタ 31">
            <a:extLst>
              <a:ext uri="{FF2B5EF4-FFF2-40B4-BE49-F238E27FC236}">
                <a16:creationId xmlns:a16="http://schemas.microsoft.com/office/drawing/2014/main" id="{1C5FF280-F327-2D44-92D6-EC3606D47B94}"/>
              </a:ext>
            </a:extLst>
          </p:cNvPr>
          <p:cNvCxnSpPr>
            <a:stCxn id="43" idx="3"/>
            <a:endCxn id="44" idx="7"/>
          </p:cNvCxnSpPr>
          <p:nvPr/>
        </p:nvCxnSpPr>
        <p:spPr bwMode="auto">
          <a:xfrm flipH="1">
            <a:off x="14336620" y="7570281"/>
            <a:ext cx="1200801" cy="104864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直線矢印コネクタ 32">
            <a:extLst>
              <a:ext uri="{FF2B5EF4-FFF2-40B4-BE49-F238E27FC236}">
                <a16:creationId xmlns:a16="http://schemas.microsoft.com/office/drawing/2014/main" id="{0A71BF22-6201-414D-8A71-83BDB7DE78D7}"/>
              </a:ext>
            </a:extLst>
          </p:cNvPr>
          <p:cNvCxnSpPr>
            <a:stCxn id="39" idx="4"/>
            <a:endCxn id="43" idx="0"/>
          </p:cNvCxnSpPr>
          <p:nvPr/>
        </p:nvCxnSpPr>
        <p:spPr bwMode="auto">
          <a:xfrm>
            <a:off x="16028886" y="5204225"/>
            <a:ext cx="17619" cy="113702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直線矢印コネクタ 31">
            <a:extLst>
              <a:ext uri="{FF2B5EF4-FFF2-40B4-BE49-F238E27FC236}">
                <a16:creationId xmlns:a16="http://schemas.microsoft.com/office/drawing/2014/main" id="{15393FA6-65E8-A04D-B400-915095CDA6DF}"/>
              </a:ext>
            </a:extLst>
          </p:cNvPr>
          <p:cNvCxnSpPr>
            <a:stCxn id="39" idx="3"/>
            <a:endCxn id="42" idx="6"/>
          </p:cNvCxnSpPr>
          <p:nvPr/>
        </p:nvCxnSpPr>
        <p:spPr bwMode="auto">
          <a:xfrm flipH="1">
            <a:off x="14171507" y="4993355"/>
            <a:ext cx="1348296" cy="62464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直線矢印コネクタ 31">
            <a:extLst>
              <a:ext uri="{FF2B5EF4-FFF2-40B4-BE49-F238E27FC236}">
                <a16:creationId xmlns:a16="http://schemas.microsoft.com/office/drawing/2014/main" id="{06EDCBCD-C676-0243-9EF1-A12C420B07B6}"/>
              </a:ext>
            </a:extLst>
          </p:cNvPr>
          <p:cNvCxnSpPr>
            <a:stCxn id="75" idx="4"/>
            <a:endCxn id="40" idx="0"/>
          </p:cNvCxnSpPr>
          <p:nvPr/>
        </p:nvCxnSpPr>
        <p:spPr bwMode="auto">
          <a:xfrm>
            <a:off x="20953468" y="4657293"/>
            <a:ext cx="66276" cy="1188837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直線矢印コネクタ 31">
            <a:extLst>
              <a:ext uri="{FF2B5EF4-FFF2-40B4-BE49-F238E27FC236}">
                <a16:creationId xmlns:a16="http://schemas.microsoft.com/office/drawing/2014/main" id="{DC1A700B-9D5A-CA4F-BC15-DFBB5A19A2C3}"/>
              </a:ext>
            </a:extLst>
          </p:cNvPr>
          <p:cNvCxnSpPr>
            <a:stCxn id="41" idx="7"/>
            <a:endCxn id="40" idx="3"/>
          </p:cNvCxnSpPr>
          <p:nvPr/>
        </p:nvCxnSpPr>
        <p:spPr bwMode="auto">
          <a:xfrm flipV="1">
            <a:off x="19085334" y="7075167"/>
            <a:ext cx="1425326" cy="116109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直線矢印コネクタ 31">
            <a:extLst>
              <a:ext uri="{FF2B5EF4-FFF2-40B4-BE49-F238E27FC236}">
                <a16:creationId xmlns:a16="http://schemas.microsoft.com/office/drawing/2014/main" id="{195D6DA8-C134-594E-B975-DFB3A08D6982}"/>
              </a:ext>
            </a:extLst>
          </p:cNvPr>
          <p:cNvCxnSpPr>
            <a:endCxn id="41" idx="1"/>
          </p:cNvCxnSpPr>
          <p:nvPr/>
        </p:nvCxnSpPr>
        <p:spPr bwMode="auto">
          <a:xfrm>
            <a:off x="16748839" y="7305443"/>
            <a:ext cx="1318327" cy="930822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直線矢印コネクタ 31">
            <a:extLst>
              <a:ext uri="{FF2B5EF4-FFF2-40B4-BE49-F238E27FC236}">
                <a16:creationId xmlns:a16="http://schemas.microsoft.com/office/drawing/2014/main" id="{15393FA6-65E8-A04D-B400-915095CDA6DF}"/>
              </a:ext>
            </a:extLst>
          </p:cNvPr>
          <p:cNvCxnSpPr>
            <a:stCxn id="43" idx="1"/>
            <a:endCxn id="42" idx="6"/>
          </p:cNvCxnSpPr>
          <p:nvPr/>
        </p:nvCxnSpPr>
        <p:spPr bwMode="auto">
          <a:xfrm flipH="1" flipV="1">
            <a:off x="14171507" y="5617999"/>
            <a:ext cx="1365915" cy="93411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円/楕円 7">
            <a:extLst>
              <a:ext uri="{FF2B5EF4-FFF2-40B4-BE49-F238E27FC236}">
                <a16:creationId xmlns:a16="http://schemas.microsoft.com/office/drawing/2014/main" id="{2BD64EEC-411B-004D-B901-04461ACF20C8}"/>
              </a:ext>
            </a:extLst>
          </p:cNvPr>
          <p:cNvSpPr/>
          <p:nvPr/>
        </p:nvSpPr>
        <p:spPr bwMode="auto">
          <a:xfrm>
            <a:off x="20233515" y="3217387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sp>
        <p:nvSpPr>
          <p:cNvPr id="76" name="円/楕円 9">
            <a:extLst>
              <a:ext uri="{FF2B5EF4-FFF2-40B4-BE49-F238E27FC236}">
                <a16:creationId xmlns:a16="http://schemas.microsoft.com/office/drawing/2014/main" id="{C8623BDF-9427-DB40-B990-D0B0DA64DA9D}"/>
              </a:ext>
            </a:extLst>
          </p:cNvPr>
          <p:cNvSpPr/>
          <p:nvPr/>
        </p:nvSpPr>
        <p:spPr bwMode="auto">
          <a:xfrm>
            <a:off x="17886265" y="4484271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cxnSp>
        <p:nvCxnSpPr>
          <p:cNvPr id="77" name="直線矢印コネクタ 31">
            <a:extLst>
              <a:ext uri="{FF2B5EF4-FFF2-40B4-BE49-F238E27FC236}">
                <a16:creationId xmlns:a16="http://schemas.microsoft.com/office/drawing/2014/main" id="{195D6DA8-C134-594E-B975-DFB3A08D6982}"/>
              </a:ext>
            </a:extLst>
          </p:cNvPr>
          <p:cNvCxnSpPr>
            <a:stCxn id="75" idx="2"/>
            <a:endCxn id="76" idx="7"/>
          </p:cNvCxnSpPr>
          <p:nvPr/>
        </p:nvCxnSpPr>
        <p:spPr bwMode="auto">
          <a:xfrm flipH="1">
            <a:off x="19115302" y="3937341"/>
            <a:ext cx="1118213" cy="75780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円/楕円 4">
            <a:extLst>
              <a:ext uri="{FF2B5EF4-FFF2-40B4-BE49-F238E27FC236}">
                <a16:creationId xmlns:a16="http://schemas.microsoft.com/office/drawing/2014/main" id="{43F56ABD-A494-724C-AD77-587277911B29}"/>
              </a:ext>
            </a:extLst>
          </p:cNvPr>
          <p:cNvSpPr/>
          <p:nvPr/>
        </p:nvSpPr>
        <p:spPr bwMode="auto">
          <a:xfrm>
            <a:off x="22438381" y="4585722"/>
            <a:ext cx="1439906" cy="143990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182868" tIns="91434" rIns="182868" bIns="9143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ja-JP" sz="2800" dirty="0">
                <a:latin typeface="Oracle Sans Cd Tab" panose="020B0506020204020204" pitchFamily="34" charset="0"/>
                <a:cs typeface="Oracle Sans Cd Tab" panose="020B0506020204020204" pitchFamily="34" charset="0"/>
              </a:rPr>
              <a:t>Person</a:t>
            </a:r>
            <a:endParaRPr kumimoji="1" lang="ja-JP" altLang="en-US" sz="2800" dirty="0">
              <a:latin typeface="Oracle Sans Cd Tab" panose="020B0506020204020204" pitchFamily="34" charset="0"/>
              <a:cs typeface="Oracle Sans Cd Tab" panose="020B0506020204020204" pitchFamily="34" charset="0"/>
            </a:endParaRPr>
          </a:p>
        </p:txBody>
      </p:sp>
      <p:cxnSp>
        <p:nvCxnSpPr>
          <p:cNvPr id="79" name="直線矢印コネクタ 31">
            <a:extLst>
              <a:ext uri="{FF2B5EF4-FFF2-40B4-BE49-F238E27FC236}">
                <a16:creationId xmlns:a16="http://schemas.microsoft.com/office/drawing/2014/main" id="{DD11EAF4-CDF9-0444-8F66-8ADFDCE6214E}"/>
              </a:ext>
            </a:extLst>
          </p:cNvPr>
          <p:cNvCxnSpPr>
            <a:stCxn id="78" idx="1"/>
            <a:endCxn id="75" idx="6"/>
          </p:cNvCxnSpPr>
          <p:nvPr/>
        </p:nvCxnSpPr>
        <p:spPr bwMode="auto">
          <a:xfrm flipH="1" flipV="1">
            <a:off x="21673422" y="3937340"/>
            <a:ext cx="975830" cy="859252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直線矢印コネクタ 31">
            <a:extLst>
              <a:ext uri="{FF2B5EF4-FFF2-40B4-BE49-F238E27FC236}">
                <a16:creationId xmlns:a16="http://schemas.microsoft.com/office/drawing/2014/main" id="{195D6DA8-C134-594E-B975-DFB3A08D6982}"/>
              </a:ext>
            </a:extLst>
          </p:cNvPr>
          <p:cNvCxnSpPr>
            <a:endCxn id="78" idx="3"/>
          </p:cNvCxnSpPr>
          <p:nvPr/>
        </p:nvCxnSpPr>
        <p:spPr bwMode="auto">
          <a:xfrm flipV="1">
            <a:off x="21739697" y="5814759"/>
            <a:ext cx="909553" cy="52319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直線矢印コネクタ 31">
            <a:extLst>
              <a:ext uri="{FF2B5EF4-FFF2-40B4-BE49-F238E27FC236}">
                <a16:creationId xmlns:a16="http://schemas.microsoft.com/office/drawing/2014/main" id="{195D6DA8-C134-594E-B975-DFB3A08D6982}"/>
              </a:ext>
            </a:extLst>
          </p:cNvPr>
          <p:cNvCxnSpPr>
            <a:stCxn id="76" idx="5"/>
            <a:endCxn id="40" idx="2"/>
          </p:cNvCxnSpPr>
          <p:nvPr/>
        </p:nvCxnSpPr>
        <p:spPr bwMode="auto">
          <a:xfrm>
            <a:off x="19115302" y="5713308"/>
            <a:ext cx="1184489" cy="8527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TextBox 103"/>
          <p:cNvSpPr txBox="1"/>
          <p:nvPr/>
        </p:nvSpPr>
        <p:spPr>
          <a:xfrm>
            <a:off x="17676519" y="9500624"/>
            <a:ext cx="21214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chemeClr val="accent1"/>
                </a:solidFill>
              </a:rPr>
              <a:t>name:Hugo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4794799" y="8115667"/>
            <a:ext cx="17183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err="1">
                <a:solidFill>
                  <a:schemeClr val="accent1"/>
                </a:solidFill>
              </a:rPr>
              <a:t>worksFor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ACF38F-1BE5-5289-E09F-A0C2D92C85A1}"/>
              </a:ext>
            </a:extLst>
          </p:cNvPr>
          <p:cNvSpPr txBox="1"/>
          <p:nvPr/>
        </p:nvSpPr>
        <p:spPr>
          <a:xfrm>
            <a:off x="17050578" y="6982575"/>
            <a:ext cx="125188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err="1">
                <a:solidFill>
                  <a:schemeClr val="accent1"/>
                </a:solidFill>
              </a:rPr>
              <a:t>knows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728939C8-87FF-F242-B623-BD102EF9A5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BFDD5849-E81E-095C-8941-B328E494232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2" name="直線矢印コネクタ 31">
            <a:extLst>
              <a:ext uri="{FF2B5EF4-FFF2-40B4-BE49-F238E27FC236}">
                <a16:creationId xmlns:a16="http://schemas.microsoft.com/office/drawing/2014/main" id="{8F6C52F3-D826-E3F1-8ABE-827AD2CD6052}"/>
              </a:ext>
            </a:extLst>
          </p:cNvPr>
          <p:cNvCxnSpPr>
            <a:cxnSpLocks/>
          </p:cNvCxnSpPr>
          <p:nvPr/>
        </p:nvCxnSpPr>
        <p:spPr bwMode="auto">
          <a:xfrm>
            <a:off x="16692466" y="7305443"/>
            <a:ext cx="1435660" cy="96130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C00000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直線矢印コネクタ 31">
            <a:extLst>
              <a:ext uri="{FF2B5EF4-FFF2-40B4-BE49-F238E27FC236}">
                <a16:creationId xmlns:a16="http://schemas.microsoft.com/office/drawing/2014/main" id="{1C92E513-0B8D-7BB3-F388-0F1936BA3C53}"/>
              </a:ext>
            </a:extLst>
          </p:cNvPr>
          <p:cNvCxnSpPr>
            <a:cxnSpLocks/>
            <a:stCxn id="41" idx="7"/>
          </p:cNvCxnSpPr>
          <p:nvPr/>
        </p:nvCxnSpPr>
        <p:spPr bwMode="auto">
          <a:xfrm flipV="1">
            <a:off x="19085334" y="7014207"/>
            <a:ext cx="1486286" cy="1222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C00000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直線矢印コネクタ 31">
            <a:extLst>
              <a:ext uri="{FF2B5EF4-FFF2-40B4-BE49-F238E27FC236}">
                <a16:creationId xmlns:a16="http://schemas.microsoft.com/office/drawing/2014/main" id="{73482FCC-EAF1-564E-B160-C5DD03394CB7}"/>
              </a:ext>
            </a:extLst>
          </p:cNvPr>
          <p:cNvCxnSpPr>
            <a:endCxn id="78" idx="3"/>
          </p:cNvCxnSpPr>
          <p:nvPr/>
        </p:nvCxnSpPr>
        <p:spPr bwMode="auto">
          <a:xfrm flipV="1">
            <a:off x="21739697" y="5814759"/>
            <a:ext cx="909553" cy="523193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ounded Rectangle 71">
            <a:extLst>
              <a:ext uri="{FF2B5EF4-FFF2-40B4-BE49-F238E27FC236}">
                <a16:creationId xmlns:a16="http://schemas.microsoft.com/office/drawing/2014/main" id="{3BAD0B7F-4962-C991-2E11-F27AFE924772}"/>
              </a:ext>
            </a:extLst>
          </p:cNvPr>
          <p:cNvSpPr/>
          <p:nvPr/>
        </p:nvSpPr>
        <p:spPr>
          <a:xfrm>
            <a:off x="17831859" y="2743200"/>
            <a:ext cx="6026609" cy="4812170"/>
          </a:xfrm>
          <a:prstGeom prst="roundRect">
            <a:avLst/>
          </a:prstGeom>
          <a:solidFill>
            <a:schemeClr val="accent3">
              <a:lumMod val="75000"/>
              <a:alpha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760" tIns="121880" rIns="243760" bIns="121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4798" dirty="0"/>
          </a:p>
        </p:txBody>
      </p:sp>
    </p:spTree>
    <p:extLst>
      <p:ext uri="{BB962C8B-B14F-4D97-AF65-F5344CB8AC3E}">
        <p14:creationId xmlns:p14="http://schemas.microsoft.com/office/powerpoint/2010/main" val="300656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05B664B-01BB-BE59-9101-3B8335557C00}"/>
              </a:ext>
            </a:extLst>
          </p:cNvPr>
          <p:cNvSpPr txBox="1"/>
          <p:nvPr/>
        </p:nvSpPr>
        <p:spPr>
          <a:xfrm>
            <a:off x="18226549" y="4866712"/>
            <a:ext cx="2105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H" sz="2800">
                <a:solidFill>
                  <a:schemeClr val="accent1"/>
                </a:solidFill>
              </a:rPr>
              <a:t>Graph Model</a:t>
            </a:r>
          </a:p>
        </p:txBody>
      </p:sp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3CACB30-67E6-9F02-770A-5897D0EDFF3F}"/>
              </a:ext>
            </a:extLst>
          </p:cNvPr>
          <p:cNvSpPr/>
          <p:nvPr/>
        </p:nvSpPr>
        <p:spPr>
          <a:xfrm>
            <a:off x="17887950" y="4613368"/>
            <a:ext cx="3181350" cy="1254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1930401"/>
            <a:ext cx="22174199" cy="11019074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r>
              <a:rPr lang="pl-PL" sz="136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ree different query languages</a:t>
            </a:r>
          </a:p>
          <a:p>
            <a:pPr marL="365108" lvl="1" indent="-365108">
              <a:lnSpc>
                <a:spcPct val="120000"/>
              </a:lnSpc>
            </a:pPr>
            <a:r>
              <a:rPr lang="pl-PL" sz="128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GQL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upported in all versions of Oracle Database (19c, 21c, 23ai,..), Oracle Graph Server, Oracle Graph Studio for Autonomous Database, SQL Developer and SQL CL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mplemented in form of client libraries 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eeds to be configured and enabled at the client level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perty graphs can be defined as data structures or views on top of data structures (recommended) 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ocumented </a:t>
            </a: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endParaRPr lang="pl-PL" sz="11200" dirty="0">
              <a:solidFill>
                <a:schemeClr val="accent4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365108" lvl="1" indent="-365108">
              <a:lnSpc>
                <a:spcPct val="120000"/>
              </a:lnSpc>
            </a:pPr>
            <a:r>
              <a:rPr lang="pl-PL" sz="128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QL/PGQ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ew feature of Oracle Database 23ai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ntegral part of SQL, implemented at the database level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vailable for all SQL clients, no need to configure anything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upported also by Oracle Graph Server and Graph Studio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perty graphs are views on top of relational data structures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ocumented </a:t>
            </a:r>
            <a:r>
              <a:rPr lang="pl-PL" sz="11200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here</a:t>
            </a:r>
            <a:endParaRPr lang="pl-PL" sz="11200" dirty="0">
              <a:solidFill>
                <a:schemeClr val="accent5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365108" lvl="1" indent="-365108">
              <a:lnSpc>
                <a:spcPct val="120000"/>
              </a:lnSpc>
            </a:pPr>
            <a:r>
              <a:rPr lang="pl-PL" sz="128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aphQL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nitially developed by Facebook/Meta as an API interface to Property Graphs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mplemented in Oracle REST Data Services component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vides GraphQL support for REST calls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ocumented </a:t>
            </a: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endParaRPr lang="pl-PL" sz="11200" dirty="0">
              <a:solidFill>
                <a:schemeClr val="accent4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461725"/>
            <a:ext cx="19866825" cy="1214675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Property Graphs in Oracle Database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18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05B664B-01BB-BE59-9101-3B8335557C00}"/>
              </a:ext>
            </a:extLst>
          </p:cNvPr>
          <p:cNvSpPr txBox="1"/>
          <p:nvPr/>
        </p:nvSpPr>
        <p:spPr>
          <a:xfrm>
            <a:off x="18226549" y="4866712"/>
            <a:ext cx="2105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H" sz="2800">
                <a:solidFill>
                  <a:schemeClr val="accent1"/>
                </a:solidFill>
              </a:rPr>
              <a:t>Graph Model</a:t>
            </a:r>
          </a:p>
        </p:txBody>
      </p:sp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3CACB30-67E6-9F02-770A-5897D0EDFF3F}"/>
              </a:ext>
            </a:extLst>
          </p:cNvPr>
          <p:cNvSpPr/>
          <p:nvPr/>
        </p:nvSpPr>
        <p:spPr>
          <a:xfrm>
            <a:off x="17887950" y="4613368"/>
            <a:ext cx="3181350" cy="1254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1930401"/>
            <a:ext cx="22174199" cy="11019074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r>
              <a:rPr lang="pl-PL" sz="136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ree different solutions</a:t>
            </a:r>
          </a:p>
          <a:p>
            <a:pPr marL="365108" lvl="1" indent="-365108">
              <a:lnSpc>
                <a:spcPct val="120000"/>
              </a:lnSpc>
            </a:pPr>
            <a:r>
              <a:rPr lang="pl-PL" sz="128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Database (all editions, all deployment models)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ll versions support PGQL Property Graphs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QL/PGQ and SQL property graphs are one of new features of Oracle Database 23ai</a:t>
            </a:r>
          </a:p>
          <a:p>
            <a:pPr marL="365108" lvl="1" indent="-365108">
              <a:lnSpc>
                <a:spcPct val="120000"/>
              </a:lnSpc>
            </a:pPr>
            <a:r>
              <a:rPr lang="pl-PL" sz="128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aph Server and Graph Studio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perty Graph Analytic Layer</a:t>
            </a:r>
          </a:p>
          <a:p>
            <a:pPr marL="2193681" lvl="3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aph Studio is integrated with Oracle Autonomous Database</a:t>
            </a:r>
          </a:p>
          <a:p>
            <a:pPr marL="2193681" lvl="3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aph Server can be used with all editions of Oracle Database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upport PGQL and SQL/PG Property Graph</a:t>
            </a:r>
          </a:p>
          <a:p>
            <a:pPr marL="2193681" lvl="3" indent="-365108">
              <a:lnSpc>
                <a:spcPct val="120000"/>
              </a:lnSpc>
            </a:pPr>
            <a:r>
              <a:rPr lang="pl-PL" sz="112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QL/PGQ and SQL property graphs are supported when a tool is used with Oracle Database 23ai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tx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vide 60+ advanced, parallelized algorithms to analyze graph data 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tx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Java and Python interfaces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tx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REST API is provided by Graph Server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tx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torage/cache layer for graph data</a:t>
            </a:r>
          </a:p>
          <a:p>
            <a:pPr marL="365108" lvl="1" indent="-365108">
              <a:lnSpc>
                <a:spcPct val="120000"/>
              </a:lnSpc>
            </a:pPr>
            <a:r>
              <a:rPr lang="pl-PL" sz="128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REST Data Services 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REST API for SQL/PGQ, when used with Oracle Database 23ai</a:t>
            </a:r>
          </a:p>
          <a:p>
            <a:pPr marL="1279395" lvl="2" indent="-365108">
              <a:lnSpc>
                <a:spcPct val="120000"/>
              </a:lnSpc>
            </a:pPr>
            <a:r>
              <a:rPr lang="pl-PL" sz="112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REST API for GraphQL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461725"/>
            <a:ext cx="19866825" cy="1214675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Property Graphs in Oracle Database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50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05B664B-01BB-BE59-9101-3B8335557C00}"/>
              </a:ext>
            </a:extLst>
          </p:cNvPr>
          <p:cNvSpPr txBox="1"/>
          <p:nvPr/>
        </p:nvSpPr>
        <p:spPr>
          <a:xfrm>
            <a:off x="18226549" y="4866712"/>
            <a:ext cx="2105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H" sz="2800">
                <a:solidFill>
                  <a:schemeClr val="accent1"/>
                </a:solidFill>
              </a:rPr>
              <a:t>Graph Model</a:t>
            </a:r>
          </a:p>
        </p:txBody>
      </p:sp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3CACB30-67E6-9F02-770A-5897D0EDFF3F}"/>
              </a:ext>
            </a:extLst>
          </p:cNvPr>
          <p:cNvSpPr/>
          <p:nvPr/>
        </p:nvSpPr>
        <p:spPr>
          <a:xfrm>
            <a:off x="17887950" y="4613368"/>
            <a:ext cx="3181350" cy="1254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2082801"/>
            <a:ext cx="22174199" cy="11019074"/>
          </a:xfrm>
          <a:prstGeom prst="rect">
            <a:avLst/>
          </a:prstGeom>
        </p:spPr>
        <p:txBody>
          <a:bodyPr>
            <a:normAutofit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endParaRPr lang="pl-PL" sz="128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678779"/>
            <a:ext cx="19866825" cy="99762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Scenario #1: Simple, single-layer architecture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2A58D-8DAF-6460-6D89-E251484E74EA}"/>
              </a:ext>
            </a:extLst>
          </p:cNvPr>
          <p:cNvSpPr txBox="1"/>
          <p:nvPr/>
        </p:nvSpPr>
        <p:spPr>
          <a:xfrm>
            <a:off x="884975" y="2809312"/>
            <a:ext cx="13727051" cy="7540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imple, single-layer architecture consisting of Oracle Database(s) only can be considered whe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o need to use graph analytics layer provided by Oracle Graph Server/Oracle Graph Studi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or use cases, where operational property graphs with CRUD operations are used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f Oracle Database 23ai is used, or it is possible to upgrade the database to this version then SQL/PGQ and SQL property graphs are recommend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ote: </a:t>
            </a:r>
          </a:p>
          <a:p>
            <a:r>
              <a:rPr lang="pl-PL" sz="36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	 Property graphs are fully supported by all performance, </a:t>
            </a:r>
          </a:p>
          <a:p>
            <a:r>
              <a:rPr lang="pl-PL" sz="36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    security and availability options</a:t>
            </a:r>
            <a:endParaRPr lang="pl-PL" sz="3600" dirty="0">
              <a:solidFill>
                <a:schemeClr val="accent4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6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grpSp>
        <p:nvGrpSpPr>
          <p:cNvPr id="2056" name="Group 2055">
            <a:extLst>
              <a:ext uri="{FF2B5EF4-FFF2-40B4-BE49-F238E27FC236}">
                <a16:creationId xmlns:a16="http://schemas.microsoft.com/office/drawing/2014/main" id="{DAD9A202-098E-6BB0-0183-47B8255120BD}"/>
              </a:ext>
            </a:extLst>
          </p:cNvPr>
          <p:cNvGrpSpPr/>
          <p:nvPr/>
        </p:nvGrpSpPr>
        <p:grpSpPr>
          <a:xfrm>
            <a:off x="18701557" y="3241142"/>
            <a:ext cx="4228173" cy="4124857"/>
            <a:chOff x="18701557" y="3241142"/>
            <a:chExt cx="4228173" cy="4124857"/>
          </a:xfrm>
        </p:grpSpPr>
        <p:pic>
          <p:nvPicPr>
            <p:cNvPr id="2054" name="Picture 6" descr="Oracle RDB Statement Of Direction">
              <a:extLst>
                <a:ext uri="{FF2B5EF4-FFF2-40B4-BE49-F238E27FC236}">
                  <a16:creationId xmlns:a16="http://schemas.microsoft.com/office/drawing/2014/main" id="{BBB3ECC8-7DC4-B6A0-BEA4-5D188A2DEB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01557" y="3241142"/>
              <a:ext cx="4228173" cy="4124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3" name="Picture 2052" descr="rdf.png">
              <a:extLst>
                <a:ext uri="{FF2B5EF4-FFF2-40B4-BE49-F238E27FC236}">
                  <a16:creationId xmlns:a16="http://schemas.microsoft.com/office/drawing/2014/main" id="{7ABD5176-C1C4-7035-15DD-0147F340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7396" y="4676554"/>
              <a:ext cx="2004275" cy="12540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699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2082801"/>
            <a:ext cx="22174199" cy="11019074"/>
          </a:xfrm>
          <a:prstGeom prst="rect">
            <a:avLst/>
          </a:prstGeom>
        </p:spPr>
        <p:txBody>
          <a:bodyPr>
            <a:normAutofit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endParaRPr lang="pl-PL" sz="128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461725"/>
            <a:ext cx="19866825" cy="1214675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Scenario #2: Graph Server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2A58D-8DAF-6460-6D89-E251484E74EA}"/>
              </a:ext>
            </a:extLst>
          </p:cNvPr>
          <p:cNvSpPr txBox="1"/>
          <p:nvPr/>
        </p:nvSpPr>
        <p:spPr>
          <a:xfrm>
            <a:off x="884975" y="2809312"/>
            <a:ext cx="1372705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aph Server should be considered whe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eed to use advanced graph analytics, when a non-autonomous database is us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 separate storage/cache layer is considered as a way of distributing a heavy workload into different layer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eed to use REST API to access PGQL graph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6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2059" name="Picture 2058" descr="Map&#10;&#10;Description automatically generated">
            <a:extLst>
              <a:ext uri="{FF2B5EF4-FFF2-40B4-BE49-F238E27FC236}">
                <a16:creationId xmlns:a16="http://schemas.microsoft.com/office/drawing/2014/main" id="{F0875B30-065C-E972-0BF5-A3B4C3B76B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2327" y="2809312"/>
            <a:ext cx="7910572" cy="40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84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2082801"/>
            <a:ext cx="22174199" cy="11019074"/>
          </a:xfrm>
          <a:prstGeom prst="rect">
            <a:avLst/>
          </a:prstGeom>
        </p:spPr>
        <p:txBody>
          <a:bodyPr>
            <a:normAutofit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endParaRPr lang="pl-PL" sz="128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461725"/>
            <a:ext cx="19866825" cy="1214675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Scenario #3: Graph Studio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2A58D-8DAF-6460-6D89-E251484E74EA}"/>
              </a:ext>
            </a:extLst>
          </p:cNvPr>
          <p:cNvSpPr txBox="1"/>
          <p:nvPr/>
        </p:nvSpPr>
        <p:spPr>
          <a:xfrm>
            <a:off x="884975" y="2809312"/>
            <a:ext cx="1372705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aph Studio should be considered whe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Autonomous Database is us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dvanced graph analytics layer is requir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 separate storage/cache layer is considered as a way of distributing a heavy workload into different layer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o need to use REST API to access PGQL graph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6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ADBEF8-1DCB-01B4-C3AB-EC3E34541D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18418" y="2809312"/>
            <a:ext cx="8028206" cy="3445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42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2082801"/>
            <a:ext cx="22174199" cy="11019074"/>
          </a:xfrm>
          <a:prstGeom prst="rect">
            <a:avLst/>
          </a:prstGeom>
        </p:spPr>
        <p:txBody>
          <a:bodyPr>
            <a:normAutofit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endParaRPr lang="pl-PL" sz="128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461725"/>
            <a:ext cx="19866825" cy="1214675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Scenario #4: ORDS with Oracle Database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2A58D-8DAF-6460-6D89-E251484E74EA}"/>
              </a:ext>
            </a:extLst>
          </p:cNvPr>
          <p:cNvSpPr txBox="1"/>
          <p:nvPr/>
        </p:nvSpPr>
        <p:spPr>
          <a:xfrm>
            <a:off x="884975" y="2809312"/>
            <a:ext cx="13727051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DS with Oracle Database should be considered whe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REST API is required for accessing SQL/PGQ and SQL property graphs in Oracle Database 23ai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eed to use GraphQL and REST API to access the dat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o need to use advanced analytics provided by Oracle Graph Server or Oracle Graph Studi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re is no need to use PGQL Property Graph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6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6146" name="Picture 2" descr="REST Data Services | Oracle Polska">
            <a:extLst>
              <a:ext uri="{FF2B5EF4-FFF2-40B4-BE49-F238E27FC236}">
                <a16:creationId xmlns:a16="http://schemas.microsoft.com/office/drawing/2014/main" id="{7A20EFC8-FCC5-7931-E092-A196A1381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3931" y="1837158"/>
            <a:ext cx="4093428" cy="4093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0A7F7B9-4AAB-C17B-F9E3-3F3D6E04189B}"/>
              </a:ext>
            </a:extLst>
          </p:cNvPr>
          <p:cNvGrpSpPr/>
          <p:nvPr/>
        </p:nvGrpSpPr>
        <p:grpSpPr>
          <a:xfrm>
            <a:off x="19269265" y="1805729"/>
            <a:ext cx="4228173" cy="4124857"/>
            <a:chOff x="18701557" y="3241142"/>
            <a:chExt cx="4228173" cy="4124857"/>
          </a:xfrm>
        </p:grpSpPr>
        <p:pic>
          <p:nvPicPr>
            <p:cNvPr id="5" name="Picture 6" descr="Oracle RDB Statement Of Direction">
              <a:extLst>
                <a:ext uri="{FF2B5EF4-FFF2-40B4-BE49-F238E27FC236}">
                  <a16:creationId xmlns:a16="http://schemas.microsoft.com/office/drawing/2014/main" id="{8EF43179-30AC-4BCE-2664-9F9C6911CE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01557" y="3241142"/>
              <a:ext cx="4228173" cy="4124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rdf.png">
              <a:extLst>
                <a:ext uri="{FF2B5EF4-FFF2-40B4-BE49-F238E27FC236}">
                  <a16:creationId xmlns:a16="http://schemas.microsoft.com/office/drawing/2014/main" id="{3C65DD56-781C-10DF-25AC-B4D4CCAF27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7396" y="4676554"/>
              <a:ext cx="2004275" cy="1254032"/>
            </a:xfrm>
            <a:prstGeom prst="rect">
              <a:avLst/>
            </a:prstGeom>
          </p:spPr>
        </p:pic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22CFC7B-766A-D689-909A-01CFC340EC70}"/>
              </a:ext>
            </a:extLst>
          </p:cNvPr>
          <p:cNvCxnSpPr>
            <a:cxnSpLocks/>
          </p:cNvCxnSpPr>
          <p:nvPr/>
        </p:nvCxnSpPr>
        <p:spPr>
          <a:xfrm>
            <a:off x="18028880" y="3868157"/>
            <a:ext cx="2016285" cy="0"/>
          </a:xfrm>
          <a:prstGeom prst="straightConnector1">
            <a:avLst/>
          </a:prstGeom>
          <a:ln w="4127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25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826DDD34-AA77-F94C-53CB-CB60EC27F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ym typeface="Symbol" pitchFamily="2" charset="2"/>
              </a:rPr>
              <a:t>Copyright © 2024, Oracle and/or its affiliates</a:t>
            </a:r>
            <a:endParaRPr lang="en-CA" dirty="0"/>
          </a:p>
        </p:txBody>
      </p:sp>
      <p:sp>
        <p:nvSpPr>
          <p:cNvPr id="88" name="Slide Number Placeholder 87">
            <a:extLst>
              <a:ext uri="{FF2B5EF4-FFF2-40B4-BE49-F238E27FC236}">
                <a16:creationId xmlns:a16="http://schemas.microsoft.com/office/drawing/2014/main" id="{77C8D524-1DB3-BFAC-0C91-BC17F76996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F4B978-1D82-7745-80C5-DBABA6B131D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393F270-13BC-669C-3306-E8E7D50AC6E4}"/>
              </a:ext>
            </a:extLst>
          </p:cNvPr>
          <p:cNvSpPr txBox="1">
            <a:spLocks/>
          </p:cNvSpPr>
          <p:nvPr/>
        </p:nvSpPr>
        <p:spPr>
          <a:xfrm>
            <a:off x="1028700" y="2082801"/>
            <a:ext cx="22174199" cy="11019074"/>
          </a:xfrm>
          <a:prstGeom prst="rect">
            <a:avLst/>
          </a:prstGeom>
        </p:spPr>
        <p:txBody>
          <a:bodyPr>
            <a:normAutofit/>
          </a:bodyPr>
          <a:lstStyle>
            <a:lvl1pPr marL="457141" indent="-457141" algn="l" defTabSz="182857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200" b="0" i="0" kern="1200">
                <a:solidFill>
                  <a:schemeClr val="tx2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13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2285714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02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3200000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4114286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5028573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859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141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427" indent="-457141" algn="l" defTabSz="182857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20000"/>
              </a:lnSpc>
              <a:buNone/>
            </a:pPr>
            <a:endParaRPr lang="pl-PL" sz="128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C1DDADC-24A4-574E-1B23-6EEF20CD6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975" y="461725"/>
            <a:ext cx="19866825" cy="1214675"/>
          </a:xfrm>
        </p:spPr>
        <p:txBody>
          <a:bodyPr>
            <a:normAutofit/>
          </a:bodyPr>
          <a:lstStyle/>
          <a:p>
            <a:r>
              <a:rPr lang="pl-PL" sz="6000" dirty="0">
                <a:latin typeface="Oracle Sans Tab" panose="020B0503020204020204" pitchFamily="34" charset="0"/>
                <a:cs typeface="Oracle Sans Tab" panose="020B0503020204020204" pitchFamily="34" charset="0"/>
              </a:rPr>
              <a:t>Oracle Database 23ai and SQL/PGQ</a:t>
            </a:r>
            <a:endParaRPr lang="en-US" sz="6000" dirty="0">
              <a:latin typeface="Oracle Sans Tab" panose="020B0503020204020204" pitchFamily="34" charset="0"/>
              <a:cs typeface="Oracle Sans Tab" panose="020B05030202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2A58D-8DAF-6460-6D89-E251484E74EA}"/>
              </a:ext>
            </a:extLst>
          </p:cNvPr>
          <p:cNvSpPr txBox="1"/>
          <p:nvPr/>
        </p:nvSpPr>
        <p:spPr>
          <a:xfrm>
            <a:off x="884976" y="2682312"/>
            <a:ext cx="11306230" cy="12680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4400" b="1" dirty="0">
                <a:solidFill>
                  <a:schemeClr val="accent5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ne of the most important new features in Oracle Database 23ai</a:t>
            </a:r>
            <a:endParaRPr lang="pl-PL" sz="3600" b="1" dirty="0">
              <a:solidFill>
                <a:schemeClr val="accent5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44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art of SQL 2023 ISO/IEC industry standar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44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ully integrated with SQL, implemented at the database level</a:t>
            </a:r>
          </a:p>
          <a:p>
            <a:pPr marL="1028665" lvl="1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mmediate support for all SQL Oracle clien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44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ully documented in data dictionar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44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QL property graphs are implemented as views</a:t>
            </a:r>
          </a:p>
          <a:p>
            <a:pPr marL="1028665" lvl="1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o need to replicate the data</a:t>
            </a:r>
          </a:p>
          <a:p>
            <a:pPr marL="1028665" lvl="1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o performance overhead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44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ot all functionalities available yet</a:t>
            </a:r>
          </a:p>
          <a:p>
            <a:pPr marL="1028665" lvl="1" indent="-571500">
              <a:buFont typeface="Arial" panose="020B0604020202020204" pitchFamily="34" charset="0"/>
              <a:buChar char="•"/>
            </a:pPr>
            <a:r>
              <a:rPr lang="pl-PL" sz="3600" dirty="0">
                <a:solidFill>
                  <a:schemeClr val="accent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dvanced analytics will be implemented in future releases</a:t>
            </a:r>
          </a:p>
          <a:p>
            <a:endParaRPr lang="pl-PL" sz="44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lvl="1"/>
            <a:r>
              <a:rPr lang="pl-PL" sz="4400" dirty="0">
                <a:solidFill>
                  <a:schemeClr val="tx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	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sz="44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4400" dirty="0">
              <a:solidFill>
                <a:schemeClr val="tx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FD7333-65E8-0576-1768-42BE5F3FAA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983130" y="2433907"/>
            <a:ext cx="11154915" cy="79292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4852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loudWorld">
      <a:dk1>
        <a:srgbClr val="000000"/>
      </a:dk1>
      <a:lt1>
        <a:srgbClr val="FFFFFF"/>
      </a:lt1>
      <a:dk2>
        <a:srgbClr val="3B7087"/>
      </a:dk2>
      <a:lt2>
        <a:srgbClr val="E3E1DD"/>
      </a:lt2>
      <a:accent1>
        <a:srgbClr val="264759"/>
      </a:accent1>
      <a:accent2>
        <a:srgbClr val="2C5166"/>
      </a:accent2>
      <a:accent3>
        <a:srgbClr val="81B2C3"/>
      </a:accent3>
      <a:accent4>
        <a:srgbClr val="6F757E"/>
      </a:accent4>
      <a:accent5>
        <a:srgbClr val="C74634"/>
      </a:accent5>
      <a:accent6>
        <a:srgbClr val="1A2F3F"/>
      </a:accent6>
      <a:hlink>
        <a:srgbClr val="437C93"/>
      </a:hlink>
      <a:folHlink>
        <a:srgbClr val="BCD5D5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cle CloudWorld PPT Template" id="{B0017376-36B5-2A4C-B5C2-A1354452476E}" vid="{5557FD82-965C-4F4D-A97A-528D362A18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0EA6220-C750-1649-9283-DAF31D9B0828}">
  <we:reference id="wa200000729" version="3.19.222.0" store="en-US" storeType="OMEX"/>
  <we:alternateReferences>
    <we:reference id="wa200000729" version="3.19.222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099</TotalTime>
  <Words>885</Words>
  <Application>Microsoft Office PowerPoint</Application>
  <PresentationFormat>Custom</PresentationFormat>
  <Paragraphs>136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Calibri Light</vt:lpstr>
      <vt:lpstr>Georgia</vt:lpstr>
      <vt:lpstr>Oracle Sans</vt:lpstr>
      <vt:lpstr>Oracle Sans Cd Tab</vt:lpstr>
      <vt:lpstr>Oracle Sans Light</vt:lpstr>
      <vt:lpstr>Oracle Sans Semi Bold</vt:lpstr>
      <vt:lpstr>Oracle Sans Tab</vt:lpstr>
      <vt:lpstr>Office Theme</vt:lpstr>
      <vt:lpstr>think-cell Slide</vt:lpstr>
      <vt:lpstr>Oracle Property Graphs Overview of available options</vt:lpstr>
      <vt:lpstr>Property Graphs</vt:lpstr>
      <vt:lpstr>Property Graphs in Oracle Database</vt:lpstr>
      <vt:lpstr>Property Graphs in Oracle Database</vt:lpstr>
      <vt:lpstr>Scenario #1: Simple, single-layer architecture</vt:lpstr>
      <vt:lpstr>Scenario #2: Graph Server</vt:lpstr>
      <vt:lpstr>Scenario #3: Graph Studio</vt:lpstr>
      <vt:lpstr>Scenario #4: ORDS with Oracle Database</vt:lpstr>
      <vt:lpstr>Oracle Database 23ai and SQL/PGQ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Title</dc:title>
  <dc:creator>Alexandra Howar</dc:creator>
  <cp:lastModifiedBy>Witold Swierzy</cp:lastModifiedBy>
  <cp:revision>353</cp:revision>
  <dcterms:created xsi:type="dcterms:W3CDTF">2022-04-05T21:00:01Z</dcterms:created>
  <dcterms:modified xsi:type="dcterms:W3CDTF">2024-08-01T09:20:07Z</dcterms:modified>
</cp:coreProperties>
</file>